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4" r:id="rId22"/>
    <p:sldId id="1633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91162B-374C-410F-BE05-2F90E426A109}" v="8" dt="2024-08-30T04:17:40.8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804" y="5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umar, Mahendra SBOBNG-PTIV/IB" userId="46236ead-755c-42fd-ab80-d5097f10a71e" providerId="ADAL" clId="{0991162B-374C-410F-BE05-2F90E426A109}"/>
    <pc:docChg chg="undo custSel modSld">
      <pc:chgData name="Kumar, Mahendra SBOBNG-PTIV/IB" userId="46236ead-755c-42fd-ab80-d5097f10a71e" providerId="ADAL" clId="{0991162B-374C-410F-BE05-2F90E426A109}" dt="2024-08-30T04:17:40.814" v="1079" actId="1076"/>
      <pc:docMkLst>
        <pc:docMk/>
      </pc:docMkLst>
      <pc:sldChg chg="modSp mod">
        <pc:chgData name="Kumar, Mahendra SBOBNG-PTIV/IB" userId="46236ead-755c-42fd-ab80-d5097f10a71e" providerId="ADAL" clId="{0991162B-374C-410F-BE05-2F90E426A109}" dt="2024-08-29T13:58:34.955" v="22" actId="20577"/>
        <pc:sldMkLst>
          <pc:docMk/>
          <pc:sldMk cId="3267775274" sldId="256"/>
        </pc:sldMkLst>
        <pc:spChg chg="mod">
          <ac:chgData name="Kumar, Mahendra SBOBNG-PTIV/IB" userId="46236ead-755c-42fd-ab80-d5097f10a71e" providerId="ADAL" clId="{0991162B-374C-410F-BE05-2F90E426A109}" dt="2024-08-29T13:58:34.955" v="22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Kumar, Mahendra SBOBNG-PTIV/IB" userId="46236ead-755c-42fd-ab80-d5097f10a71e" providerId="ADAL" clId="{0991162B-374C-410F-BE05-2F90E426A109}" dt="2024-08-29T13:58:25.265" v="19" actId="20577"/>
          <ac:spMkLst>
            <pc:docMk/>
            <pc:sldMk cId="3267775274" sldId="256"/>
            <ac:spMk id="12" creationId="{8A24547F-8A92-CDC5-A578-3733390534F2}"/>
          </ac:spMkLst>
        </pc:spChg>
      </pc:sldChg>
      <pc:sldChg chg="addSp delSp modSp mod">
        <pc:chgData name="Kumar, Mahendra SBOBNG-PTIV/IB" userId="46236ead-755c-42fd-ab80-d5097f10a71e" providerId="ADAL" clId="{0991162B-374C-410F-BE05-2F90E426A109}" dt="2024-08-30T04:17:40.814" v="1079" actId="1076"/>
        <pc:sldMkLst>
          <pc:docMk/>
          <pc:sldMk cId="867832184" sldId="2147375589"/>
        </pc:sldMkLst>
        <pc:spChg chg="mod">
          <ac:chgData name="Kumar, Mahendra SBOBNG-PTIV/IB" userId="46236ead-755c-42fd-ab80-d5097f10a71e" providerId="ADAL" clId="{0991162B-374C-410F-BE05-2F90E426A109}" dt="2024-08-29T13:59:56.337" v="138" actId="20577"/>
          <ac:spMkLst>
            <pc:docMk/>
            <pc:sldMk cId="867832184" sldId="2147375589"/>
            <ac:spMk id="10" creationId="{1119CB9E-042F-11E8-F683-654626D307B3}"/>
          </ac:spMkLst>
        </pc:spChg>
        <pc:spChg chg="del mod">
          <ac:chgData name="Kumar, Mahendra SBOBNG-PTIV/IB" userId="46236ead-755c-42fd-ab80-d5097f10a71e" providerId="ADAL" clId="{0991162B-374C-410F-BE05-2F90E426A109}" dt="2024-08-30T04:17:38.514" v="1078" actId="478"/>
          <ac:spMkLst>
            <pc:docMk/>
            <pc:sldMk cId="867832184" sldId="2147375589"/>
            <ac:spMk id="11" creationId="{CE0DDF5F-FE47-F9A2-FE84-53B63DFF494D}"/>
          </ac:spMkLst>
        </pc:spChg>
        <pc:picChg chg="add del mod">
          <ac:chgData name="Kumar, Mahendra SBOBNG-PTIV/IB" userId="46236ead-755c-42fd-ab80-d5097f10a71e" providerId="ADAL" clId="{0991162B-374C-410F-BE05-2F90E426A109}" dt="2024-08-30T04:17:40.814" v="1079" actId="1076"/>
          <ac:picMkLst>
            <pc:docMk/>
            <pc:sldMk cId="867832184" sldId="2147375589"/>
            <ac:picMk id="2" creationId="{953413F4-06F6-9910-2095-861E977EBAD3}"/>
          </ac:picMkLst>
        </pc:picChg>
        <pc:picChg chg="add del mod">
          <ac:chgData name="Kumar, Mahendra SBOBNG-PTIV/IB" userId="46236ead-755c-42fd-ab80-d5097f10a71e" providerId="ADAL" clId="{0991162B-374C-410F-BE05-2F90E426A109}" dt="2024-08-30T04:17:11.998" v="1061" actId="478"/>
          <ac:picMkLst>
            <pc:docMk/>
            <pc:sldMk cId="867832184" sldId="2147375589"/>
            <ac:picMk id="6" creationId="{6FF0EB58-C5B3-33CB-BB45-6C497507A0DF}"/>
          </ac:picMkLst>
        </pc:picChg>
        <pc:picChg chg="add del mod">
          <ac:chgData name="Kumar, Mahendra SBOBNG-PTIV/IB" userId="46236ead-755c-42fd-ab80-d5097f10a71e" providerId="ADAL" clId="{0991162B-374C-410F-BE05-2F90E426A109}" dt="2024-08-29T14:04:01.973" v="144" actId="478"/>
          <ac:picMkLst>
            <pc:docMk/>
            <pc:sldMk cId="867832184" sldId="2147375589"/>
            <ac:picMk id="8" creationId="{6024F9E0-F0D1-51CC-DE14-142D4B875884}"/>
          </ac:picMkLst>
        </pc:picChg>
      </pc:sldChg>
      <pc:sldChg chg="addSp modSp mod">
        <pc:chgData name="Kumar, Mahendra SBOBNG-PTIV/IB" userId="46236ead-755c-42fd-ab80-d5097f10a71e" providerId="ADAL" clId="{0991162B-374C-410F-BE05-2F90E426A109}" dt="2024-08-29T14:33:25.383" v="1060" actId="20577"/>
        <pc:sldMkLst>
          <pc:docMk/>
          <pc:sldMk cId="245881457" sldId="2147375597"/>
        </pc:sldMkLst>
        <pc:spChg chg="mod">
          <ac:chgData name="Kumar, Mahendra SBOBNG-PTIV/IB" userId="46236ead-755c-42fd-ab80-d5097f10a71e" providerId="ADAL" clId="{0991162B-374C-410F-BE05-2F90E426A109}" dt="2024-08-29T14:33:25.383" v="1060" actId="20577"/>
          <ac:spMkLst>
            <pc:docMk/>
            <pc:sldMk cId="245881457" sldId="2147375597"/>
            <ac:spMk id="11" creationId="{DE9F1BE0-7910-FA1B-DCE8-56EFD1E4FC09}"/>
          </ac:spMkLst>
        </pc:spChg>
        <pc:spChg chg="mod">
          <ac:chgData name="Kumar, Mahendra SBOBNG-PTIV/IB" userId="46236ead-755c-42fd-ab80-d5097f10a71e" providerId="ADAL" clId="{0991162B-374C-410F-BE05-2F90E426A109}" dt="2024-08-29T14:31:32.970" v="1036" actId="20577"/>
          <ac:spMkLst>
            <pc:docMk/>
            <pc:sldMk cId="245881457" sldId="2147375597"/>
            <ac:spMk id="12" creationId="{E53E5C3F-4D2B-B85F-E592-E58E032C664C}"/>
          </ac:spMkLst>
        </pc:spChg>
        <pc:picChg chg="add mod">
          <ac:chgData name="Kumar, Mahendra SBOBNG-PTIV/IB" userId="46236ead-755c-42fd-ab80-d5097f10a71e" providerId="ADAL" clId="{0991162B-374C-410F-BE05-2F90E426A109}" dt="2024-08-29T14:32:23.191" v="1040" actId="1076"/>
          <ac:picMkLst>
            <pc:docMk/>
            <pc:sldMk cId="245881457" sldId="2147375597"/>
            <ac:picMk id="5" creationId="{A42E4478-5E52-3476-D13B-D212FD748FF0}"/>
          </ac:picMkLst>
        </pc:picChg>
      </pc:sld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3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Mahendra Kuma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How I feel Shell implements this learning: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Team building Activities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Cross-Functional Team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Clear Roles and Responsibilities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Recognition and Reward</a:t>
            </a:r>
          </a:p>
          <a:p>
            <a:pPr marL="0" indent="0">
              <a:buNone/>
            </a:pPr>
            <a:r>
              <a:rPr lang="en-US" sz="2000" b="1" dirty="0"/>
              <a:t>How I feel Shell benefits from this learning:</a:t>
            </a:r>
            <a:r>
              <a:rPr lang="en-US" sz="2000" dirty="0"/>
              <a:t> 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Increased Innovation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Higher Productivity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Employee Engagement</a:t>
            </a:r>
            <a:endParaRPr lang="en-US" sz="2000" dirty="0">
              <a:cs typeface="Arial"/>
            </a:endParaRP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 descr="Shell Logo, Shell Symbol, Meaning, History and Evolution">
            <a:extLst>
              <a:ext uri="{FF2B5EF4-FFF2-40B4-BE49-F238E27FC236}">
                <a16:creationId xmlns:a16="http://schemas.microsoft.com/office/drawing/2014/main" id="{C494116C-5B94-A6DF-2929-2565AC643B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Challenge faced while implementing</a:t>
            </a:r>
            <a:r>
              <a:rPr lang="en-US" sz="2000" b="1" dirty="0"/>
              <a:t>: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Cultural Resistance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Consistency across Regions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Measurement and Accountability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Time Constraint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 descr="Angled view of a part of a maze">
            <a:extLst>
              <a:ext uri="{FF2B5EF4-FFF2-40B4-BE49-F238E27FC236}">
                <a16:creationId xmlns:a16="http://schemas.microsoft.com/office/drawing/2014/main" id="{669566F1-FC3C-B44C-DEB0-619A63538A9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1816996"/>
            <a:ext cx="5361911" cy="4164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 faced while implementing: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Diverse Stakeholder interest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Communication barriers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Resource Allocation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 descr="Angled view of a part of a maze">
            <a:extLst>
              <a:ext uri="{FF2B5EF4-FFF2-40B4-BE49-F238E27FC236}">
                <a16:creationId xmlns:a16="http://schemas.microsoft.com/office/drawing/2014/main" id="{4B89F078-794E-C5AB-9E19-C567F9ED09D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1816996"/>
            <a:ext cx="5361911" cy="4164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 faced while implementing: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Geographical Dispersion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Diverse Work Cultures leading to misunderstanding sometimes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Role Clarity Issues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Resistance to chang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 descr="Angled view of a part of a maze">
            <a:extLst>
              <a:ext uri="{FF2B5EF4-FFF2-40B4-BE49-F238E27FC236}">
                <a16:creationId xmlns:a16="http://schemas.microsoft.com/office/drawing/2014/main" id="{6B892F63-0F84-6B12-AE2F-49EAE012E7F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1816996"/>
            <a:ext cx="5361911" cy="4164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anose="020B0604020202020204" pitchFamily="34" charset="0"/>
              <a:buChar char="Ø"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Learning more about Azure DevOps</a:t>
            </a:r>
          </a:p>
          <a:p>
            <a:pPr algn="ctr">
              <a:buFont typeface="Wingdings" panose="020B0604020202020204" pitchFamily="34" charset="0"/>
              <a:buChar char="Ø"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Setting up PostgreSQL and working on that</a:t>
            </a:r>
          </a:p>
          <a:p>
            <a:pPr algn="ctr">
              <a:buFont typeface="Wingdings" panose="020B0604020202020204" pitchFamily="34" charset="0"/>
              <a:buChar char="Ø"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Making more friends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 Week</a:t>
            </a:r>
            <a:endParaRPr lang="en-US" sz="2400" dirty="0"/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going</a:t>
            </a:r>
            <a:endParaRPr lang="en-US" sz="2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2400" dirty="0">
              <a:cs typeface="Arial"/>
            </a:endParaRPr>
          </a:p>
          <a:p>
            <a:pPr marL="457200" indent="-457200">
              <a:lnSpc>
                <a:spcPct val="100000"/>
              </a:lnSpc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Professionalism: We learned the importance of consistent behavior and clear communication, though adapting these standards globally and measuring their impact was challenging.</a:t>
            </a:r>
          </a:p>
          <a:p>
            <a:pPr marL="457200" indent="-457200">
              <a:lnSpc>
                <a:spcPct val="100000"/>
              </a:lnSpc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Stakeholder Management: Managing diverse stakeholder needs improved our collaboration but balancing conflicting interests and overcoming communication barriers required significant effort.</a:t>
            </a:r>
          </a:p>
          <a:p>
            <a:pPr marL="457200" indent="-457200">
              <a:lnSpc>
                <a:spcPct val="100000"/>
              </a:lnSpc>
              <a:buFont typeface="Wingdings" panose="020B0604020202020204" pitchFamily="34" charset="0"/>
              <a:buChar char="Ø"/>
            </a:pPr>
            <a:r>
              <a:rPr lang="en-US" sz="2000" dirty="0">
                <a:ea typeface="+mn-lt"/>
                <a:cs typeface="+mn-lt"/>
              </a:rPr>
              <a:t>Teamwork: Enhancing teamwork boosted innovation and productivity but bridging geographical and cultural gaps was a challenging part of the journey.</a:t>
            </a:r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Dedication for improvement is what makes you perfect.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2" descr="45,700+ Rock Cycle Stock Photos, Pictures &amp; Royalty-Free Images - iStock">
            <a:extLst>
              <a:ext uri="{FF2B5EF4-FFF2-40B4-BE49-F238E27FC236}">
                <a16:creationId xmlns:a16="http://schemas.microsoft.com/office/drawing/2014/main" id="{953413F4-06F6-9910-2095-861E977EBA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1831737"/>
            <a:ext cx="5349005" cy="407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 sz="1800" dirty="0"/>
              <a:t>Professionalism is one of the most important pillar of corporate world.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en-US" sz="1800" dirty="0"/>
          </a:p>
          <a:p>
            <a:pPr algn="just"/>
            <a:r>
              <a:rPr lang="en-US" sz="1800" dirty="0"/>
              <a:t>Building the right attitude.</a:t>
            </a:r>
          </a:p>
          <a:p>
            <a:pPr algn="just"/>
            <a:r>
              <a:rPr lang="en-US" sz="1800" dirty="0"/>
              <a:t>Grooming and meeting etiquettes.</a:t>
            </a:r>
          </a:p>
          <a:p>
            <a:pPr algn="just"/>
            <a:r>
              <a:rPr lang="en-US" sz="1800" dirty="0"/>
              <a:t>Do’s and </a:t>
            </a:r>
            <a:r>
              <a:rPr lang="en-US" sz="1800"/>
              <a:t>don’ts of professional </a:t>
            </a:r>
            <a:r>
              <a:rPr lang="en-US" sz="1800" dirty="0"/>
              <a:t>e-mail. </a:t>
            </a:r>
          </a:p>
          <a:p>
            <a:pPr algn="just"/>
            <a:endParaRPr lang="en-US" sz="1800" dirty="0"/>
          </a:p>
          <a:p>
            <a:pPr marL="0" indent="0" algn="just">
              <a:buNone/>
            </a:pPr>
            <a:r>
              <a:rPr lang="en-US" sz="1800" dirty="0"/>
              <a:t>Professionalism in energy sector enhances operational efficiency and safety by adhering to industry standards and regulations. It fosters ethical behavior and transparency, building trust with stakeholders and public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Group of people posing for a photo">
            <a:extLst>
              <a:ext uri="{FF2B5EF4-FFF2-40B4-BE49-F238E27FC236}">
                <a16:creationId xmlns:a16="http://schemas.microsoft.com/office/drawing/2014/main" id="{A42E4478-5E52-3476-D13B-D212FD748FF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2105743"/>
            <a:ext cx="5348180" cy="3586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keholder Analysi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20B0604020202020204" pitchFamily="34" charset="0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dentify the stakehold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20B0604020202020204" pitchFamily="34" charset="0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nderstand Stakeholde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20B0604020202020204" pitchFamily="34" charset="0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ioritize stakeholde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20B0604020202020204" pitchFamily="34" charset="0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velop a communication pla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20B0604020202020204" pitchFamily="34" charset="0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nage and monitor stakeholder expecta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ways have power-interest graph in mi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keholder expect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20B0604020202020204" pitchFamily="34" charset="0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ansparenc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20B0604020202020204" pitchFamily="34" charset="0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iving everyone significant amount of sa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20B0604020202020204" pitchFamily="34" charset="0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hysical interaction is best but if it is not possible, you can have another mutually acceptable chann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Stakeholder - Learn About the Different Types of Stakeholders">
            <a:extLst>
              <a:ext uri="{FF2B5EF4-FFF2-40B4-BE49-F238E27FC236}">
                <a16:creationId xmlns:a16="http://schemas.microsoft.com/office/drawing/2014/main" id="{81D25B30-CDC0-7407-6B06-0D3AC2BFD91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-90" r="293" b="-482"/>
          <a:stretch/>
        </p:blipFill>
        <p:spPr>
          <a:xfrm>
            <a:off x="6871090" y="1858077"/>
            <a:ext cx="4410123" cy="4079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nefits of Teamwork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20B0604020202020204" pitchFamily="34" charset="0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Encourages personal growth and Increases job satisfactio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lt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20B0604020202020204" pitchFamily="34" charset="0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Reduces stress Increases efficiency by sharing the workload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lt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20B0604020202020204" pitchFamily="34" charset="0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Boosts accountability and mora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ges of Development (Tuckman Model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20B0604020202020204" pitchFamily="34" charset="0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rform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20B0604020202020204" pitchFamily="34" charset="0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m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20B0604020202020204" pitchFamily="34" charset="0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orm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20B0604020202020204" pitchFamily="34" charset="0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rm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ndwich feedback method should be used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20 Teamwork Quotes that Teach us the Power of Collaboration">
            <a:extLst>
              <a:ext uri="{FF2B5EF4-FFF2-40B4-BE49-F238E27FC236}">
                <a16:creationId xmlns:a16="http://schemas.microsoft.com/office/drawing/2014/main" id="{55F22C1D-B696-DDB5-16AC-2E248C5F9A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99101" y="1842576"/>
            <a:ext cx="5350706" cy="4306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How I feel Shell implements this learning:</a:t>
            </a:r>
            <a:endParaRPr lang="en-US" sz="2000" b="1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Training program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Leadership by example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Performance evaluation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Clear Communication</a:t>
            </a:r>
          </a:p>
          <a:p>
            <a:pPr marL="0" indent="0">
              <a:buNone/>
            </a:pPr>
            <a:r>
              <a:rPr lang="en-US" sz="2000" b="1" dirty="0"/>
              <a:t>How I feel Shell benefits from this learning:</a:t>
            </a:r>
            <a:r>
              <a:rPr lang="en-US" sz="2000" dirty="0"/>
              <a:t> 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Enhanced Reputation 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Employee Satisfaction</a:t>
            </a:r>
          </a:p>
          <a:p>
            <a:pPr marL="342900" indent="-342900">
              <a:buFont typeface="Wingdings" panose="020B0604020202020204" pitchFamily="34" charset="0"/>
              <a:buChar char="Ø"/>
            </a:pPr>
            <a:r>
              <a:rPr lang="en-US" sz="2000" dirty="0">
                <a:cs typeface="Arial"/>
              </a:rPr>
              <a:t>Risk Mitigation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 descr="Shell Logo, Shell Symbol, Meaning, History and Evolution">
            <a:extLst>
              <a:ext uri="{FF2B5EF4-FFF2-40B4-BE49-F238E27FC236}">
                <a16:creationId xmlns:a16="http://schemas.microsoft.com/office/drawing/2014/main" id="{B186599B-876E-4C5B-B15A-435FE48C841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How I feel Shell implements this learning:</a:t>
            </a:r>
            <a:endParaRPr lang="en-US" sz="2000" dirty="0"/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Stakeholder Mapping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Communication Plan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Feedback mechanism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Collaborative platform</a:t>
            </a:r>
          </a:p>
          <a:p>
            <a:pPr marL="0" indent="0">
              <a:buNone/>
            </a:pPr>
            <a:r>
              <a:rPr lang="en-US" sz="2000" b="1" dirty="0"/>
              <a:t>How I feel Shell benefits from this learning:</a:t>
            </a:r>
            <a:r>
              <a:rPr lang="en-US" sz="2000" dirty="0"/>
              <a:t> 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>
                <a:cs typeface="Arial"/>
              </a:rPr>
              <a:t>Improved Decision-Making</a:t>
            </a: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Risk mitigation</a:t>
            </a:r>
            <a:endParaRPr lang="en-US" sz="2000" dirty="0">
              <a:cs typeface="Arial"/>
            </a:endParaRPr>
          </a:p>
          <a:p>
            <a:pPr marL="342900" indent="-342900">
              <a:buFont typeface="Wingdings,Sans-Serif"/>
              <a:buChar char="Ø"/>
            </a:pPr>
            <a:r>
              <a:rPr lang="en-US" sz="2000" dirty="0"/>
              <a:t>Strengthened Relationship</a:t>
            </a:r>
            <a:endParaRPr lang="en-US" sz="2000" dirty="0">
              <a:cs typeface="Arial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 descr="Shell Logo, Shell Symbol, Meaning, History and Evolution">
            <a:extLst>
              <a:ext uri="{FF2B5EF4-FFF2-40B4-BE49-F238E27FC236}">
                <a16:creationId xmlns:a16="http://schemas.microsoft.com/office/drawing/2014/main" id="{40B775DF-5AC3-5B8F-953C-5D24B56BF9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41</TotalTime>
  <Words>566</Words>
  <Application>Microsoft Office PowerPoint</Application>
  <PresentationFormat>Widescreen</PresentationFormat>
  <Paragraphs>120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Wingdings,Sans-Serif</vt:lpstr>
      <vt:lpstr>Arial</vt:lpstr>
      <vt:lpstr>Calibri</vt:lpstr>
      <vt:lpstr>Wingdings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Kumar, Mahendra SBOBNG-PTIV/IB</cp:lastModifiedBy>
  <cp:revision>501</cp:revision>
  <dcterms:created xsi:type="dcterms:W3CDTF">2022-01-18T12:35:56Z</dcterms:created>
  <dcterms:modified xsi:type="dcterms:W3CDTF">2024-09-03T06:01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